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4"/>
  </p:notesMasterIdLst>
  <p:sldIdLst>
    <p:sldId id="297" r:id="rId2"/>
    <p:sldId id="572" r:id="rId3"/>
    <p:sldId id="565" r:id="rId4"/>
    <p:sldId id="349" r:id="rId5"/>
    <p:sldId id="444" r:id="rId6"/>
    <p:sldId id="834" r:id="rId7"/>
    <p:sldId id="394" r:id="rId8"/>
    <p:sldId id="395" r:id="rId9"/>
    <p:sldId id="582" r:id="rId10"/>
    <p:sldId id="445" r:id="rId11"/>
    <p:sldId id="397" r:id="rId12"/>
    <p:sldId id="447" r:id="rId13"/>
    <p:sldId id="400" r:id="rId14"/>
    <p:sldId id="401" r:id="rId15"/>
    <p:sldId id="402" r:id="rId16"/>
    <p:sldId id="406" r:id="rId17"/>
    <p:sldId id="837" r:id="rId18"/>
    <p:sldId id="298" r:id="rId19"/>
    <p:sldId id="299" r:id="rId20"/>
    <p:sldId id="350" r:id="rId21"/>
    <p:sldId id="383" r:id="rId22"/>
    <p:sldId id="384" r:id="rId23"/>
    <p:sldId id="385" r:id="rId24"/>
    <p:sldId id="387" r:id="rId25"/>
    <p:sldId id="388" r:id="rId26"/>
    <p:sldId id="389" r:id="rId27"/>
    <p:sldId id="391" r:id="rId28"/>
    <p:sldId id="390" r:id="rId29"/>
    <p:sldId id="448" r:id="rId30"/>
    <p:sldId id="449" r:id="rId31"/>
    <p:sldId id="392" r:id="rId32"/>
    <p:sldId id="450" r:id="rId33"/>
    <p:sldId id="405" r:id="rId34"/>
    <p:sldId id="407" r:id="rId35"/>
    <p:sldId id="408" r:id="rId36"/>
    <p:sldId id="386" r:id="rId37"/>
    <p:sldId id="393" r:id="rId38"/>
    <p:sldId id="358" r:id="rId39"/>
    <p:sldId id="410" r:id="rId40"/>
    <p:sldId id="411" r:id="rId41"/>
    <p:sldId id="412" r:id="rId42"/>
    <p:sldId id="413" r:id="rId43"/>
    <p:sldId id="838" r:id="rId44"/>
    <p:sldId id="414" r:id="rId45"/>
    <p:sldId id="451" r:id="rId46"/>
    <p:sldId id="415" r:id="rId47"/>
    <p:sldId id="416" r:id="rId48"/>
    <p:sldId id="418" r:id="rId49"/>
    <p:sldId id="417" r:id="rId50"/>
    <p:sldId id="419" r:id="rId51"/>
    <p:sldId id="420" r:id="rId52"/>
    <p:sldId id="452" r:id="rId53"/>
    <p:sldId id="421" r:id="rId54"/>
    <p:sldId id="422" r:id="rId55"/>
    <p:sldId id="425" r:id="rId56"/>
    <p:sldId id="423" r:id="rId57"/>
    <p:sldId id="424" r:id="rId58"/>
    <p:sldId id="426" r:id="rId59"/>
    <p:sldId id="427" r:id="rId60"/>
    <p:sldId id="428" r:id="rId61"/>
    <p:sldId id="429" r:id="rId62"/>
    <p:sldId id="431" r:id="rId63"/>
    <p:sldId id="453" r:id="rId64"/>
    <p:sldId id="432" r:id="rId65"/>
    <p:sldId id="433" r:id="rId66"/>
    <p:sldId id="438" r:id="rId67"/>
    <p:sldId id="454" r:id="rId68"/>
    <p:sldId id="459" r:id="rId69"/>
    <p:sldId id="457" r:id="rId70"/>
    <p:sldId id="458" r:id="rId71"/>
    <p:sldId id="461" r:id="rId72"/>
    <p:sldId id="579" r:id="rId7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0" autoAdjust="0"/>
    <p:restoredTop sz="94162" autoAdjust="0"/>
  </p:normalViewPr>
  <p:slideViewPr>
    <p:cSldViewPr snapToGrid="0">
      <p:cViewPr varScale="1">
        <p:scale>
          <a:sx n="150" d="100"/>
          <a:sy n="150" d="100"/>
        </p:scale>
        <p:origin x="1344" y="1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2/14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2/14/22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2/14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2/14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2/14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2/14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2/14/22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2/14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2/14/22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2/14/22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2/14/22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2/14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2/14/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seldom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76" name="Footer Placeholder 5">
            <a:extLst>
              <a:ext uri="{FF2B5EF4-FFF2-40B4-BE49-F238E27FC236}">
                <a16:creationId xmlns:a16="http://schemas.microsoft.com/office/drawing/2014/main" id="{9F10186E-7B18-9346-B7E5-6D6426C24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4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6781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902" y="3960145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764141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477561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4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F86F6-69F4-E44A-A229-A46DCB5869E2}"/>
              </a:ext>
            </a:extLst>
          </p:cNvPr>
          <p:cNvSpPr/>
          <p:nvPr/>
        </p:nvSpPr>
        <p:spPr>
          <a:xfrm>
            <a:off x="1286933" y="3496733"/>
            <a:ext cx="7459134" cy="440267"/>
          </a:xfrm>
          <a:prstGeom prst="rect">
            <a:avLst/>
          </a:prstGeom>
          <a:solidFill>
            <a:srgbClr val="A51C3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3541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Topics</a:t>
            </a:r>
          </a:p>
        </p:txBody>
      </p:sp>
      <p:sp>
        <p:nvSpPr>
          <p:cNvPr id="9219" name="Rectangle 3"/>
          <p:cNvSpPr>
            <a:spLocks noGrp="1"/>
          </p:cNvSpPr>
          <p:nvPr>
            <p:ph type="body" idx="1"/>
          </p:nvPr>
        </p:nvSpPr>
        <p:spPr>
          <a:xfrm>
            <a:off x="914400" y="1676400"/>
            <a:ext cx="7772400" cy="4572000"/>
          </a:xfrm>
        </p:spPr>
        <p:txBody>
          <a:bodyPr/>
          <a:lstStyle/>
          <a:p>
            <a:r>
              <a:rPr lang="en-US" altLang="en-US" dirty="0">
                <a:latin typeface="Franklin Gothic Book" panose="020B0503020102020204" pitchFamily="34" charset="0"/>
              </a:rPr>
              <a:t>Explanatory vs. predictive modeling with regression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Example: prices of Toyota Corollas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Fitting a predictive model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Assessing predictive accuracy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Selecting a subset of predictors</a:t>
            </a:r>
          </a:p>
          <a:p>
            <a:endParaRPr lang="en-US" altLang="en-US" dirty="0">
              <a:latin typeface="Franklin Gothic Book" panose="020B0503020102020204" pitchFamily="34" charset="0"/>
            </a:endParaRPr>
          </a:p>
        </p:txBody>
      </p:sp>
      <p:sp>
        <p:nvSpPr>
          <p:cNvPr id="9220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914400" y="6172200"/>
            <a:ext cx="39624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chemeClr val="tx2"/>
                </a:solidFill>
                <a:latin typeface="Perpetua" panose="02020502060401020303" pitchFamily="18" charset="0"/>
              </a:rPr>
              <a:t>© Galit Shmueli and Peter Bruce 2017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5D5F80A3-3060-854D-89CC-953FED231B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4202594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C98856-D1A5-824F-835D-56AC03F713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92" y="3007895"/>
            <a:ext cx="3720283" cy="118410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206240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viewing beta coefficients can explain relationships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637236" y="3742478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$3655 for each room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0AC6495A-84FB-CE45-A81C-668168955C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4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125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/>
              <a:t>Remember the Workfl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 dirty="0"/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Formulation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requiremen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~1400 cars &amp; car attributes 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Explore the data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Asses/Adjust the Project Artifacts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ocument to make it repeatable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Results</a:t>
            </a: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594A99A6-A122-7241-A528-F88FE1CE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9A8DC6-A5F2-4C44-B5E1-CC67188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5D227B7-0814-9544-B047-9C1F84968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8C65AE5-8B9A-D746-AE91-5E9B13934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4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01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A385-5F86-6A42-BA4C-E9132354F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8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05170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21856" y="1104653"/>
            <a:ext cx="850557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ext Week is Logistic Regression- answering Yes/No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pter 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pter 10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uggested Exercises – check syllabus!</a:t>
            </a:r>
          </a:p>
          <a:p>
            <a:r>
              <a:rPr lang="en-US" sz="2400" dirty="0"/>
              <a:t>	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sekeeping , Reading &amp; Ho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589548" y="2878924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89548" y="3796463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9A64BE6-0AD1-C24E-8490-4373C732F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381844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4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138</TotalTime>
  <Words>3458</Words>
  <Application>Microsoft Macintosh PowerPoint</Application>
  <PresentationFormat>On-screen Show (4:3)</PresentationFormat>
  <Paragraphs>793</Paragraphs>
  <Slides>72</Slides>
  <Notes>21</Notes>
  <HiddenSlides>2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83" baseType="lpstr">
      <vt:lpstr>Arial</vt:lpstr>
      <vt:lpstr>Calibri</vt:lpstr>
      <vt:lpstr>Calibri Light</vt:lpstr>
      <vt:lpstr>Cambria Math</vt:lpstr>
      <vt:lpstr>Franklin Gothic Book</vt:lpstr>
      <vt:lpstr>Helvetica Neue</vt:lpstr>
      <vt:lpstr>Open Sans</vt:lpstr>
      <vt:lpstr>Perpetua</vt:lpstr>
      <vt:lpstr>Wingdings 2</vt:lpstr>
      <vt:lpstr>1_Office Theme</vt:lpstr>
      <vt:lpstr>think-cell Slide</vt:lpstr>
      <vt:lpstr>Regression</vt:lpstr>
      <vt:lpstr>Your Data Mining Toolbox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Topics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  <vt:lpstr>Housekeeping , Reading &amp; Homework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73</cp:revision>
  <dcterms:created xsi:type="dcterms:W3CDTF">2018-05-23T17:24:59Z</dcterms:created>
  <dcterms:modified xsi:type="dcterms:W3CDTF">2022-02-14T21:09:26Z</dcterms:modified>
</cp:coreProperties>
</file>